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ssaoudi, Damien (uid34375)" initials="MD(" lastIdx="1" clrIdx="0">
    <p:extLst>
      <p:ext uri="{19B8F6BF-5375-455C-9EA6-DF929625EA0E}">
        <p15:presenceInfo xmlns:p15="http://schemas.microsoft.com/office/powerpoint/2012/main" userId="S::uid34375@contiwan.com::4f89949d-5cea-46b7-a9d2-0e5d2d2bdb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274"/>
    <a:srgbClr val="E8EB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ssaoudi, Damien (uid34375)" userId="4f89949d-5cea-46b7-a9d2-0e5d2d2bdbd6" providerId="ADAL" clId="{0820F4AB-4B70-4CC6-AFDF-F8C2140A835C}"/>
    <pc:docChg chg="custSel modSld">
      <pc:chgData name="Messaoudi, Damien (uid34375)" userId="4f89949d-5cea-46b7-a9d2-0e5d2d2bdbd6" providerId="ADAL" clId="{0820F4AB-4B70-4CC6-AFDF-F8C2140A835C}" dt="2020-10-12T07:23:18.737" v="88" actId="20577"/>
      <pc:docMkLst>
        <pc:docMk/>
      </pc:docMkLst>
      <pc:sldChg chg="modSp">
        <pc:chgData name="Messaoudi, Damien (uid34375)" userId="4f89949d-5cea-46b7-a9d2-0e5d2d2bdbd6" providerId="ADAL" clId="{0820F4AB-4B70-4CC6-AFDF-F8C2140A835C}" dt="2020-10-12T07:23:18.737" v="88" actId="20577"/>
        <pc:sldMkLst>
          <pc:docMk/>
          <pc:sldMk cId="1013035921" sldId="256"/>
        </pc:sldMkLst>
        <pc:spChg chg="mod">
          <ac:chgData name="Messaoudi, Damien (uid34375)" userId="4f89949d-5cea-46b7-a9d2-0e5d2d2bdbd6" providerId="ADAL" clId="{0820F4AB-4B70-4CC6-AFDF-F8C2140A835C}" dt="2020-10-12T07:23:18.737" v="88" actId="20577"/>
          <ac:spMkLst>
            <pc:docMk/>
            <pc:sldMk cId="1013035921" sldId="256"/>
            <ac:spMk id="3" creationId="{B562BE56-78FC-4E9B-A904-84AE6C644423}"/>
          </ac:spMkLst>
        </pc:spChg>
      </pc:sldChg>
      <pc:sldChg chg="modSp">
        <pc:chgData name="Messaoudi, Damien (uid34375)" userId="4f89949d-5cea-46b7-a9d2-0e5d2d2bdbd6" providerId="ADAL" clId="{0820F4AB-4B70-4CC6-AFDF-F8C2140A835C}" dt="2020-10-09T09:15:00.366" v="65" actId="20577"/>
        <pc:sldMkLst>
          <pc:docMk/>
          <pc:sldMk cId="2070936382" sldId="263"/>
        </pc:sldMkLst>
        <pc:spChg chg="mod">
          <ac:chgData name="Messaoudi, Damien (uid34375)" userId="4f89949d-5cea-46b7-a9d2-0e5d2d2bdbd6" providerId="ADAL" clId="{0820F4AB-4B70-4CC6-AFDF-F8C2140A835C}" dt="2020-10-09T09:15:00.366" v="65" actId="20577"/>
          <ac:spMkLst>
            <pc:docMk/>
            <pc:sldMk cId="2070936382" sldId="263"/>
            <ac:spMk id="2" creationId="{E32385C4-1A55-4138-A751-862D5245DDA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12/10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D3802DF-A75A-406E-92D7-EB7F2F57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6851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7" imgW="425" imgH="426" progId="TCLayout.ActiveDocument.1">
                  <p:embed/>
                </p:oleObj>
              </mc:Choice>
              <mc:Fallback>
                <p:oleObj name="Diapositive think-cell" r:id="rId17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D3802DF-A75A-406E-92D7-EB7F2F57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64FCEFB-710D-42D1-B68E-FAB6760D9E3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hyperlink" Target="https://store.arduino.cc/arduino-mkr-zero-i2s-bus-sd-for-sound-music-digital-audio-d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4dsystems.com.au/gen4-ulcd-70dct-clb-ar" TargetMode="External"/><Relationship Id="rId3" Type="http://schemas.openxmlformats.org/officeDocument/2006/relationships/tags" Target="../tags/tag13.xml"/><Relationship Id="rId7" Type="http://schemas.openxmlformats.org/officeDocument/2006/relationships/hyperlink" Target="https://4dsystems.com.au/gen4-ulcd-50dct-clb-ar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9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700743A7-D023-4EDA-BAF1-60FED48858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50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700743A7-D023-4EDA-BAF1-60FED4885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544298-6347-4C93-AD92-3B354D4931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C49997C-51BD-473C-8F34-96E4BA73D15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Équipement de test vidéo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562BE56-78FC-4E9B-A904-84AE6C6444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Point </a:t>
            </a:r>
            <a:r>
              <a:rPr lang="fr-FR"/>
              <a:t>&amp; propositions </a:t>
            </a:r>
            <a:r>
              <a:rPr lang="fr-FR" dirty="0"/>
              <a:t>HW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CD9E64C-F4CA-4511-B671-9DBDCCFDFD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3035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075AA7E-2A5E-4C81-83E9-1EED4868EB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9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075AA7E-2A5E-4C81-83E9-1EED4868E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236DFF6-CEFE-40C3-8B46-EEC501B675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574DE128-1B26-4D84-A024-7BC63B6557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/>
              <a:t>Demo</a:t>
            </a:r>
            <a:r>
              <a:rPr lang="fr-FR" dirty="0"/>
              <a:t> </a:t>
            </a:r>
            <a:r>
              <a:rPr lang="fr-FR" dirty="0" err="1"/>
              <a:t>board</a:t>
            </a:r>
            <a:r>
              <a:rPr lang="fr-FR" dirty="0"/>
              <a:t> </a:t>
            </a:r>
            <a:r>
              <a:rPr lang="fr-FR" dirty="0" err="1"/>
              <a:t>Lattice</a:t>
            </a:r>
            <a:r>
              <a:rPr lang="fr-FR" dirty="0"/>
              <a:t>:  (en attente du retour de </a:t>
            </a:r>
            <a:r>
              <a:rPr lang="fr-FR" dirty="0" err="1"/>
              <a:t>ref</a:t>
            </a:r>
            <a:r>
              <a:rPr lang="fr-FR" dirty="0"/>
              <a:t>)</a:t>
            </a:r>
          </a:p>
          <a:p>
            <a:endParaRPr lang="fr-FR" dirty="0"/>
          </a:p>
          <a:p>
            <a:r>
              <a:rPr lang="fr-FR" dirty="0"/>
              <a:t>Affichage sur un écran des infos, paramètres, </a:t>
            </a:r>
            <a:r>
              <a:rPr lang="fr-FR" dirty="0" err="1"/>
              <a:t>ect</a:t>
            </a:r>
            <a:r>
              <a:rPr lang="fr-FR" dirty="0"/>
              <a:t> …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63F6D46-9D6B-49D7-8249-F5ABB483BF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21E2FF3-E241-4800-A11D-5E19F9F8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commandation &amp; demande client</a:t>
            </a:r>
          </a:p>
        </p:txBody>
      </p:sp>
    </p:spTree>
    <p:extLst>
      <p:ext uri="{BB962C8B-B14F-4D97-AF65-F5344CB8AC3E}">
        <p14:creationId xmlns:p14="http://schemas.microsoft.com/office/powerpoint/2010/main" val="642197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31A846BA-101D-47D4-88A2-7462090A9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91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31A846BA-101D-47D4-88A2-7462090A9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3" name="Rectangle 3072">
            <a:extLst>
              <a:ext uri="{FF2B5EF4-FFF2-40B4-BE49-F238E27FC236}">
                <a16:creationId xmlns:a16="http://schemas.microsoft.com/office/drawing/2014/main" id="{52F30C66-802A-4528-AE6B-85B9686D6A9A}"/>
              </a:ext>
            </a:extLst>
          </p:cNvPr>
          <p:cNvSpPr/>
          <p:nvPr/>
        </p:nvSpPr>
        <p:spPr>
          <a:xfrm>
            <a:off x="3343382" y="5286652"/>
            <a:ext cx="2986397" cy="914400"/>
          </a:xfrm>
          <a:prstGeom prst="rect">
            <a:avLst/>
          </a:prstGeom>
          <a:solidFill>
            <a:srgbClr val="006EAA"/>
          </a:solidFill>
          <a:ln w="76200">
            <a:solidFill>
              <a:srgbClr val="0042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Arduino MKR XXX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D4999F2-5645-422C-BD91-2493D3D492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4E6DF316-77D8-437E-A9CD-0EA78413B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rchitectur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D4860D6-E4BE-4FDB-90F9-917FA6D68D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0351" y="2455615"/>
            <a:ext cx="1511939" cy="150584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B501E29-01AA-4215-A3CC-1801209449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6788" y="2455615"/>
            <a:ext cx="1505843" cy="1505843"/>
          </a:xfrm>
          <a:prstGeom prst="rect">
            <a:avLst/>
          </a:prstGeom>
        </p:spPr>
      </p:pic>
      <p:pic>
        <p:nvPicPr>
          <p:cNvPr id="18" name="Graphique 17" descr="Ordinateur">
            <a:extLst>
              <a:ext uri="{FF2B5EF4-FFF2-40B4-BE49-F238E27FC236}">
                <a16:creationId xmlns:a16="http://schemas.microsoft.com/office/drawing/2014/main" id="{08788B19-8E2A-4ADB-8D0F-B102FE0D29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1365" y="5078027"/>
            <a:ext cx="1313895" cy="1313895"/>
          </a:xfrm>
          <a:prstGeom prst="rect">
            <a:avLst/>
          </a:prstGeom>
        </p:spPr>
      </p:pic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D9DA560C-5356-411D-BCCD-D9EA48473158}"/>
              </a:ext>
            </a:extLst>
          </p:cNvPr>
          <p:cNvCxnSpPr>
            <a:stCxn id="18" idx="3"/>
          </p:cNvCxnSpPr>
          <p:nvPr/>
        </p:nvCxnSpPr>
        <p:spPr>
          <a:xfrm>
            <a:off x="1685260" y="5734975"/>
            <a:ext cx="156526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3" name="Picture 11" descr="main product photo">
            <a:extLst>
              <a:ext uri="{FF2B5EF4-FFF2-40B4-BE49-F238E27FC236}">
                <a16:creationId xmlns:a16="http://schemas.microsoft.com/office/drawing/2014/main" id="{CC2636A3-E4E0-444A-ADDC-F92829DD58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71" t="20392" b="23069"/>
          <a:stretch/>
        </p:blipFill>
        <p:spPr bwMode="auto">
          <a:xfrm>
            <a:off x="9090734" y="4714042"/>
            <a:ext cx="2779541" cy="1677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A7E78B9F-7C8A-4583-A989-FD539A61416F}"/>
              </a:ext>
            </a:extLst>
          </p:cNvPr>
          <p:cNvCxnSpPr>
            <a:cxnSpLocks/>
          </p:cNvCxnSpPr>
          <p:nvPr/>
        </p:nvCxnSpPr>
        <p:spPr>
          <a:xfrm>
            <a:off x="6454071" y="5734974"/>
            <a:ext cx="2672178" cy="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 : en angle 26">
            <a:extLst>
              <a:ext uri="{FF2B5EF4-FFF2-40B4-BE49-F238E27FC236}">
                <a16:creationId xmlns:a16="http://schemas.microsoft.com/office/drawing/2014/main" id="{DCEC0997-25C7-4FAA-B80D-5523F6CA4EB9}"/>
              </a:ext>
            </a:extLst>
          </p:cNvPr>
          <p:cNvCxnSpPr>
            <a:cxnSpLocks/>
            <a:stCxn id="13" idx="2"/>
            <a:endCxn id="3073" idx="0"/>
          </p:cNvCxnSpPr>
          <p:nvPr/>
        </p:nvCxnSpPr>
        <p:spPr>
          <a:xfrm rot="16200000" flipH="1">
            <a:off x="3265548" y="3715619"/>
            <a:ext cx="1325194" cy="1816871"/>
          </a:xfrm>
          <a:prstGeom prst="bentConnector3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ngle 28">
            <a:extLst>
              <a:ext uri="{FF2B5EF4-FFF2-40B4-BE49-F238E27FC236}">
                <a16:creationId xmlns:a16="http://schemas.microsoft.com/office/drawing/2014/main" id="{09F3B81B-4526-4D12-848F-0AD32C19B968}"/>
              </a:ext>
            </a:extLst>
          </p:cNvPr>
          <p:cNvCxnSpPr>
            <a:cxnSpLocks/>
            <a:stCxn id="11" idx="2"/>
            <a:endCxn id="3073" idx="0"/>
          </p:cNvCxnSpPr>
          <p:nvPr/>
        </p:nvCxnSpPr>
        <p:spPr>
          <a:xfrm rot="5400000">
            <a:off x="5963854" y="2834185"/>
            <a:ext cx="1325194" cy="3579740"/>
          </a:xfrm>
          <a:prstGeom prst="bentConnector3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2" name="ZoneTexte 3071">
            <a:extLst>
              <a:ext uri="{FF2B5EF4-FFF2-40B4-BE49-F238E27FC236}">
                <a16:creationId xmlns:a16="http://schemas.microsoft.com/office/drawing/2014/main" id="{577C0E7F-5975-4AF8-ACCF-F8E1AEF96FAD}"/>
              </a:ext>
            </a:extLst>
          </p:cNvPr>
          <p:cNvSpPr txBox="1"/>
          <p:nvPr/>
        </p:nvSpPr>
        <p:spPr>
          <a:xfrm>
            <a:off x="2178773" y="1497220"/>
            <a:ext cx="1681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2000" b="1" dirty="0"/>
              <a:t>HDMI - BNC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4840A08A-5297-42AA-B741-D0F762C8A77C}"/>
              </a:ext>
            </a:extLst>
          </p:cNvPr>
          <p:cNvSpPr txBox="1"/>
          <p:nvPr/>
        </p:nvSpPr>
        <p:spPr>
          <a:xfrm>
            <a:off x="7660351" y="1497220"/>
            <a:ext cx="1681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2000" b="1" dirty="0"/>
              <a:t>HDMI - BNC</a:t>
            </a:r>
          </a:p>
        </p:txBody>
      </p:sp>
      <p:cxnSp>
        <p:nvCxnSpPr>
          <p:cNvPr id="3079" name="Connecteur droit avec flèche 3078">
            <a:extLst>
              <a:ext uri="{FF2B5EF4-FFF2-40B4-BE49-F238E27FC236}">
                <a16:creationId xmlns:a16="http://schemas.microsoft.com/office/drawing/2014/main" id="{334B15D9-3F76-46EE-BC65-DFD0F76263F5}"/>
              </a:ext>
            </a:extLst>
          </p:cNvPr>
          <p:cNvCxnSpPr>
            <a:stCxn id="13" idx="0"/>
            <a:endCxn id="3072" idx="2"/>
          </p:cNvCxnSpPr>
          <p:nvPr/>
        </p:nvCxnSpPr>
        <p:spPr>
          <a:xfrm flipH="1" flipV="1">
            <a:off x="3019709" y="1897330"/>
            <a:ext cx="1" cy="5582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7BD30921-2433-4208-9225-4671EDC40A07}"/>
              </a:ext>
            </a:extLst>
          </p:cNvPr>
          <p:cNvCxnSpPr/>
          <p:nvPr/>
        </p:nvCxnSpPr>
        <p:spPr>
          <a:xfrm flipH="1" flipV="1">
            <a:off x="8416320" y="1897329"/>
            <a:ext cx="1" cy="5582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4" name="ZoneTexte 3083">
            <a:extLst>
              <a:ext uri="{FF2B5EF4-FFF2-40B4-BE49-F238E27FC236}">
                <a16:creationId xmlns:a16="http://schemas.microsoft.com/office/drawing/2014/main" id="{212DA597-6A1E-41A2-A221-9ED5F978802B}"/>
              </a:ext>
            </a:extLst>
          </p:cNvPr>
          <p:cNvSpPr txBox="1"/>
          <p:nvPr/>
        </p:nvSpPr>
        <p:spPr>
          <a:xfrm>
            <a:off x="9877662" y="4470165"/>
            <a:ext cx="1175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Écran tactile</a:t>
            </a:r>
          </a:p>
        </p:txBody>
      </p:sp>
      <p:sp>
        <p:nvSpPr>
          <p:cNvPr id="3085" name="ZoneTexte 3084">
            <a:extLst>
              <a:ext uri="{FF2B5EF4-FFF2-40B4-BE49-F238E27FC236}">
                <a16:creationId xmlns:a16="http://schemas.microsoft.com/office/drawing/2014/main" id="{4E37E3A4-9EFD-426F-80CB-12070E13383F}"/>
              </a:ext>
            </a:extLst>
          </p:cNvPr>
          <p:cNvSpPr txBox="1"/>
          <p:nvPr/>
        </p:nvSpPr>
        <p:spPr>
          <a:xfrm>
            <a:off x="2145078" y="5436075"/>
            <a:ext cx="806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UART ?</a:t>
            </a:r>
          </a:p>
        </p:txBody>
      </p:sp>
      <p:cxnSp>
        <p:nvCxnSpPr>
          <p:cNvPr id="3087" name="Connecteur : en angle 3086">
            <a:extLst>
              <a:ext uri="{FF2B5EF4-FFF2-40B4-BE49-F238E27FC236}">
                <a16:creationId xmlns:a16="http://schemas.microsoft.com/office/drawing/2014/main" id="{CAFE4F22-802E-4768-BF2D-E0D1200824FC}"/>
              </a:ext>
            </a:extLst>
          </p:cNvPr>
          <p:cNvCxnSpPr>
            <a:cxnSpLocks/>
            <a:stCxn id="11" idx="1"/>
            <a:endCxn id="51" idx="2"/>
          </p:cNvCxnSpPr>
          <p:nvPr/>
        </p:nvCxnSpPr>
        <p:spPr>
          <a:xfrm rot="10800000">
            <a:off x="5876029" y="1771403"/>
            <a:ext cx="1784323" cy="1437134"/>
          </a:xfrm>
          <a:prstGeom prst="bent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ZoneTexte 50">
            <a:extLst>
              <a:ext uri="{FF2B5EF4-FFF2-40B4-BE49-F238E27FC236}">
                <a16:creationId xmlns:a16="http://schemas.microsoft.com/office/drawing/2014/main" id="{6307CC6D-76A5-47B7-92F1-02981C84114C}"/>
              </a:ext>
            </a:extLst>
          </p:cNvPr>
          <p:cNvSpPr txBox="1"/>
          <p:nvPr/>
        </p:nvSpPr>
        <p:spPr>
          <a:xfrm>
            <a:off x="4772200" y="1371293"/>
            <a:ext cx="22076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/>
              <a:t>SPI - I2C - UART</a:t>
            </a:r>
          </a:p>
        </p:txBody>
      </p:sp>
    </p:spTree>
    <p:extLst>
      <p:ext uri="{BB962C8B-B14F-4D97-AF65-F5344CB8AC3E}">
        <p14:creationId xmlns:p14="http://schemas.microsoft.com/office/powerpoint/2010/main" val="230916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81836F9-14ED-4631-B361-67EAFDBE86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347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81836F9-14ED-4631-B361-67EAFDBE8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D54F893-5594-4AF1-82A3-6A564422C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AB5E3407-5EC6-47C0-9978-DF05700DA3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 venir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0B4F2E7-4479-47BA-B6F1-2CBE7FA9F4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D90555-9244-4600-A25C-5980CB28A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val</a:t>
            </a:r>
            <a:r>
              <a:rPr lang="fr-FR" dirty="0"/>
              <a:t> </a:t>
            </a:r>
            <a:r>
              <a:rPr lang="fr-FR" dirty="0" err="1"/>
              <a:t>board</a:t>
            </a:r>
            <a:r>
              <a:rPr lang="fr-FR" dirty="0"/>
              <a:t> </a:t>
            </a:r>
            <a:r>
              <a:rPr lang="fr-FR" dirty="0" err="1"/>
              <a:t>latti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6364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80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Arduino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icrocontroleur</a:t>
            </a:r>
            <a:endParaRPr lang="fr-FR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ARDUINO MKR ZER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 err="1"/>
              <a:t>Analog</a:t>
            </a:r>
            <a:r>
              <a:rPr lang="fr-FR" dirty="0"/>
              <a:t> Input Pins: 7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 err="1"/>
              <a:t>Analog</a:t>
            </a:r>
            <a:r>
              <a:rPr lang="fr-FR" dirty="0"/>
              <a:t> Output Pins: 1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Flash Memory: 256 K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SRAM: 32 KB</a:t>
            </a:r>
          </a:p>
          <a:p>
            <a:pPr lvl="1">
              <a:buFont typeface="Arial" panose="020B0604020202020204" pitchFamily="34" charset="0"/>
              <a:buChar char="•"/>
            </a:pP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6"/>
              </a:rPr>
              <a:t>https://store.arduino.cc/arduino-mkr-zero-i2s-bus-sd-for-sound-music-digital-audio-data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20</a:t>
            </a:r>
            <a:r>
              <a:rPr lang="fr-FR" baseline="30000" dirty="0"/>
              <a:t>€</a:t>
            </a:r>
            <a:r>
              <a:rPr lang="fr-FR" dirty="0"/>
              <a:t>90</a:t>
            </a:r>
          </a:p>
        </p:txBody>
      </p:sp>
      <p:pic>
        <p:nvPicPr>
          <p:cNvPr id="4098" name="Picture 2" descr="Arduino MKR ZERO (I2S bus &amp; SD for sound, music &amp; digital audio data)">
            <a:extLst>
              <a:ext uri="{FF2B5EF4-FFF2-40B4-BE49-F238E27FC236}">
                <a16:creationId xmlns:a16="http://schemas.microsoft.com/office/drawing/2014/main" id="{1BA0ED08-C651-4091-BB13-8F20CE0346A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44" y="2289175"/>
            <a:ext cx="49530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341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09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D SYSTEMS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GEN4-ULCD-50D-SB-AR</a:t>
            </a:r>
          </a:p>
          <a:p>
            <a:pPr marL="182562" lvl="1" indent="0"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5” TFT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</a:p>
          <a:p>
            <a:pPr marL="182562" lvl="1" indent="0">
              <a:buNone/>
            </a:pPr>
            <a:r>
              <a:rPr lang="fr-FR" dirty="0">
                <a:hlinkClick r:id="rId7"/>
              </a:rPr>
              <a:t>https://4dsystems.com.au/gen4-ulcd-50dct-clb-ar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134</a:t>
            </a:r>
            <a:r>
              <a:rPr lang="fr-FR" baseline="30000" dirty="0"/>
              <a:t>€</a:t>
            </a:r>
            <a:r>
              <a:rPr lang="fr-FR" dirty="0"/>
              <a:t>67 (mouser.com)</a:t>
            </a:r>
          </a:p>
          <a:p>
            <a:pPr marL="182562" lvl="1" indent="0">
              <a:buNone/>
            </a:pPr>
            <a:endParaRPr lang="fr-FR" dirty="0"/>
          </a:p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GEN4-ULCD-70D-SB-AR</a:t>
            </a:r>
          </a:p>
          <a:p>
            <a:pPr marL="182562" lvl="1" indent="0"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7” TFT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8"/>
              </a:rPr>
              <a:t>https://4dsystems.com.au/gen4-ulcd-70dct-clb-ar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160</a:t>
            </a:r>
            <a:r>
              <a:rPr lang="fr-FR" baseline="30000" dirty="0"/>
              <a:t>€</a:t>
            </a:r>
            <a:r>
              <a:rPr lang="fr-FR" dirty="0"/>
              <a:t>08 (mouser.com)</a:t>
            </a:r>
          </a:p>
          <a:p>
            <a:pPr marL="182562" lvl="1" indent="0">
              <a:buNone/>
            </a:pP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25EC894-03D9-4DF4-A252-C98043331307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21" y="2800953"/>
            <a:ext cx="1421896" cy="505601"/>
          </a:xfrm>
          <a:prstGeom prst="rect">
            <a:avLst/>
          </a:prstGeom>
        </p:spPr>
      </p:pic>
      <p:pic>
        <p:nvPicPr>
          <p:cNvPr id="6151" name="Picture 7" descr="GEN4-ULCD-50DCT-CLB-AR">
            <a:extLst>
              <a:ext uri="{FF2B5EF4-FFF2-40B4-BE49-F238E27FC236}">
                <a16:creationId xmlns:a16="http://schemas.microsoft.com/office/drawing/2014/main" id="{E33A1AF6-72E4-4B33-8588-89EE7B85091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1642746"/>
            <a:ext cx="5545138" cy="443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141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9E64CC2-ED46-420F-AFCD-B21C69FD5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785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9E64CC2-ED46-420F-AFCD-B21C69FD5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CFAE1BE-A61A-426B-BE99-9408474593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183D242F-39CF-422D-92B6-7EACD80EBC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 </a:t>
            </a:r>
            <a:r>
              <a:rPr lang="fr-FR" dirty="0" err="1"/>
              <a:t>definir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76EC62-61B8-47E0-98B9-9ABF705B02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F3300813-192F-40B9-A2F6-949A4F0AF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loc alim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BAB3F51B-D2E0-4121-8210-DFC4879A00E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5280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B145197-3E41-4B5F-95F5-2C0A9259A2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114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B145197-3E41-4B5F-95F5-2C0A9259A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444CCDE-DF50-49F9-829F-088A0B826B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E32385C4-1A55-4138-A751-862D5245D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Type de communication: Retour équipe SW</a:t>
            </a:r>
          </a:p>
          <a:p>
            <a:r>
              <a:rPr lang="fr-FR" dirty="0" err="1"/>
              <a:t>Ecran</a:t>
            </a:r>
            <a:r>
              <a:rPr lang="fr-FR" dirty="0"/>
              <a:t> tactile ok ? Vous avez des proposition ?</a:t>
            </a:r>
          </a:p>
          <a:p>
            <a:r>
              <a:rPr lang="fr-FR" dirty="0"/>
              <a:t>Carte FPGA Manque </a:t>
            </a:r>
            <a:r>
              <a:rPr lang="fr-FR" dirty="0" err="1"/>
              <a:t>Ref</a:t>
            </a:r>
            <a:r>
              <a:rPr lang="fr-FR" dirty="0"/>
              <a:t> : Retour client</a:t>
            </a:r>
          </a:p>
          <a:p>
            <a:r>
              <a:rPr lang="fr-FR" dirty="0"/>
              <a:t>Recherche d’écran moins cher ! … TBD</a:t>
            </a:r>
          </a:p>
          <a:p>
            <a:r>
              <a:rPr lang="fr-FR" dirty="0"/>
              <a:t>Validation ressource SW: Arduino ok niveau ressource ?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9AC5512-3429-48D2-967F-A5D6288ED7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B18D101-33E0-4F53-BCD3-555560024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int ouvert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B47CF276-AB7F-4D2B-858A-3772B2DA560A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0936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vDulTRU1BRtwXh8na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kL_Xqsj_qJZBdlfGom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4m0mKPiwBmzKu07A5K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0tugNzMxNqU5eUWxr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uRIePv7etcnLMzl6q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FHbXU3DmBIduwH6k6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65A08D6-87C9-4290-B37F-236AD1ABF4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3F8BC3-9504-4D97-8FFC-72FAA9FA95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252852-2D4E-4E86-9873-DDE61EF8AF4C}">
  <ds:schemaRefs>
    <ds:schemaRef ds:uri="5459c1e5-ea4c-4ff0-83ae-5b1438974e3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0990c54-d953-498a-88eb-47508cbabf5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08</Words>
  <Application>Microsoft Office PowerPoint</Application>
  <PresentationFormat>Grand écran</PresentationFormat>
  <Paragraphs>51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2" baseType="lpstr">
      <vt:lpstr>Arial</vt:lpstr>
      <vt:lpstr>Vitesco</vt:lpstr>
      <vt:lpstr>Vitesco</vt:lpstr>
      <vt:lpstr>Diapositive think-cell</vt:lpstr>
      <vt:lpstr>Équipement de test vidéo</vt:lpstr>
      <vt:lpstr>Recommandation &amp; demande client</vt:lpstr>
      <vt:lpstr>Architecture</vt:lpstr>
      <vt:lpstr>Eval board lattice</vt:lpstr>
      <vt:lpstr>Microcontroleur</vt:lpstr>
      <vt:lpstr>Ecran tactile</vt:lpstr>
      <vt:lpstr>Bloc alim</vt:lpstr>
      <vt:lpstr>Point ouv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7</cp:revision>
  <dcterms:created xsi:type="dcterms:W3CDTF">2020-10-09T08:12:39Z</dcterms:created>
  <dcterms:modified xsi:type="dcterms:W3CDTF">2020-10-12T07:2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